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1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2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3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4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90" r:id="rId4"/>
    <p:sldMasterId id="2147483900" r:id="rId5"/>
    <p:sldMasterId id="2147483905" r:id="rId6"/>
    <p:sldMasterId id="2147483916" r:id="rId7"/>
    <p:sldMasterId id="2147483928" r:id="rId8"/>
    <p:sldMasterId id="2147483938" r:id="rId9"/>
    <p:sldMasterId id="2147483948" r:id="rId10"/>
    <p:sldMasterId id="2147483959" r:id="rId11"/>
    <p:sldMasterId id="2147483970" r:id="rId12"/>
    <p:sldMasterId id="2147483991" r:id="rId13"/>
    <p:sldMasterId id="2147484001" r:id="rId14"/>
    <p:sldMasterId id="2147484009" r:id="rId15"/>
    <p:sldMasterId id="2147484021" r:id="rId16"/>
    <p:sldMasterId id="2147484034" r:id="rId17"/>
  </p:sldMasterIdLst>
  <p:notesMasterIdLst>
    <p:notesMasterId r:id="rId22"/>
  </p:notesMasterIdLst>
  <p:handoutMasterIdLst>
    <p:handoutMasterId r:id="rId23"/>
  </p:handoutMasterIdLst>
  <p:sldIdLst>
    <p:sldId id="618" r:id="rId18"/>
    <p:sldId id="616" r:id="rId19"/>
    <p:sldId id="617" r:id="rId20"/>
    <p:sldId id="620" r:id="rId21"/>
  </p:sldIdLst>
  <p:sldSz cx="9906000" cy="6858000" type="A4"/>
  <p:notesSz cx="6807200" cy="9939338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6">
          <p15:clr>
            <a:srgbClr val="A4A3A4"/>
          </p15:clr>
        </p15:guide>
        <p15:guide id="2" orient="horz" pos="958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3997" userDrawn="1">
          <p15:clr>
            <a:srgbClr val="A4A3A4"/>
          </p15:clr>
        </p15:guide>
        <p15:guide id="5" orient="horz" pos="618" userDrawn="1">
          <p15:clr>
            <a:srgbClr val="A4A3A4"/>
          </p15:clr>
        </p15:guide>
        <p15:guide id="6" orient="horz" pos="4110" userDrawn="1">
          <p15:clr>
            <a:srgbClr val="A4A3A4"/>
          </p15:clr>
        </p15:guide>
        <p15:guide id="7" orient="horz" pos="4269">
          <p15:clr>
            <a:srgbClr val="A4A3A4"/>
          </p15:clr>
        </p15:guide>
        <p15:guide id="8" pos="2961" userDrawn="1">
          <p15:clr>
            <a:srgbClr val="A4A3A4"/>
          </p15:clr>
        </p15:guide>
        <p15:guide id="9" pos="262" userDrawn="1">
          <p15:clr>
            <a:srgbClr val="A4A3A4"/>
          </p15:clr>
        </p15:guide>
        <p15:guide id="10" pos="6000" userDrawn="1">
          <p15:clr>
            <a:srgbClr val="A4A3A4"/>
          </p15:clr>
        </p15:guide>
        <p15:guide id="11" pos="3188" userDrawn="1">
          <p15:clr>
            <a:srgbClr val="A4A3A4"/>
          </p15:clr>
        </p15:guide>
        <p15:guide id="12" pos="3256" userDrawn="1">
          <p15:clr>
            <a:srgbClr val="A4A3A4"/>
          </p15:clr>
        </p15:guide>
        <p15:guide id="13" orient="horz" pos="3294" userDrawn="1">
          <p15:clr>
            <a:srgbClr val="A4A3A4"/>
          </p15:clr>
        </p15:guide>
        <p15:guide id="14" orient="horz" pos="2976" userDrawn="1">
          <p15:clr>
            <a:srgbClr val="A4A3A4"/>
          </p15:clr>
        </p15:guide>
        <p15:guide id="15" orient="horz" pos="1752" userDrawn="1">
          <p15:clr>
            <a:srgbClr val="A4A3A4"/>
          </p15:clr>
        </p15:guide>
        <p15:guide id="16" orient="horz" pos="1412" userDrawn="1">
          <p15:clr>
            <a:srgbClr val="A4A3A4"/>
          </p15:clr>
        </p15:guide>
        <p15:guide id="17" orient="horz" pos="2954" userDrawn="1">
          <p15:clr>
            <a:srgbClr val="A4A3A4"/>
          </p15:clr>
        </p15:guide>
        <p15:guide id="18" pos="3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作成者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F0FA"/>
    <a:srgbClr val="EBFFBF"/>
    <a:srgbClr val="FF33CC"/>
    <a:srgbClr val="F6C8F6"/>
    <a:srgbClr val="EAB23D"/>
    <a:srgbClr val="F1B21A"/>
    <a:srgbClr val="DF971F"/>
    <a:srgbClr val="CB7D18"/>
    <a:srgbClr val="409AD8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31" autoAdjust="0"/>
    <p:restoredTop sz="96327" autoAdjust="0"/>
  </p:normalViewPr>
  <p:slideViewPr>
    <p:cSldViewPr snapToGrid="0" showGuides="1">
      <p:cViewPr varScale="1">
        <p:scale>
          <a:sx n="103" d="100"/>
          <a:sy n="103" d="100"/>
        </p:scale>
        <p:origin x="1398" y="102"/>
      </p:cViewPr>
      <p:guideLst>
        <p:guide orient="horz" pos="96"/>
        <p:guide orient="horz" pos="958"/>
        <p:guide orient="horz" pos="482"/>
        <p:guide orient="horz" pos="3997"/>
        <p:guide orient="horz" pos="618"/>
        <p:guide orient="horz" pos="4110"/>
        <p:guide orient="horz" pos="4269"/>
        <p:guide pos="2961"/>
        <p:guide pos="262"/>
        <p:guide pos="6000"/>
        <p:guide pos="3188"/>
        <p:guide pos="3256"/>
        <p:guide orient="horz" pos="3294"/>
        <p:guide orient="horz" pos="2976"/>
        <p:guide orient="horz" pos="1752"/>
        <p:guide orient="horz" pos="1412"/>
        <p:guide orient="horz" pos="2954"/>
        <p:guide pos="32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8" d="100"/>
        <a:sy n="108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97" y="3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39D7E852-17AA-4CB6-8273-0685DB7F9B51}" type="datetimeFigureOut">
              <a:rPr lang="en-US"/>
              <a:pPr/>
              <a:t>4/16/202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61B1335B-9C73-459E-8F94-9ADB241FD5FC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41985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B76C7504-6E39-4454-ABF9-7D8634367105}" type="datetimeFigureOut">
              <a:rPr lang="en-US">
                <a:latin typeface="Arial"/>
              </a:rPr>
              <a:pPr/>
              <a:t>4/16/2025</a:t>
            </a:fld>
            <a:endParaRPr lang="en-GB" dirty="0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86388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863" tIns="68933" rIns="137863" bIns="68933" rtlCol="0" anchor="ctr"/>
          <a:lstStyle/>
          <a:p>
            <a:pPr lvl="0"/>
            <a:endParaRPr lang="en-GB" noProof="0" dirty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094" y="4721187"/>
            <a:ext cx="5447014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0"/>
            <a:r>
              <a:rPr lang="en-US" noProof="0"/>
              <a:t>Second level</a:t>
            </a:r>
          </a:p>
          <a:p>
            <a:pPr lvl="0"/>
            <a:r>
              <a:rPr lang="en-US" noProof="0"/>
              <a:t>Third level</a:t>
            </a:r>
          </a:p>
          <a:p>
            <a:pPr lvl="0"/>
            <a:r>
              <a:rPr lang="en-US" noProof="0"/>
              <a:t>Fourth level</a:t>
            </a:r>
          </a:p>
          <a:p>
            <a:pPr lvl="0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DFA6DC0F-00C0-48CB-BFD3-E923E37ECD77}" type="slidenum">
              <a:rPr lang="en-GB">
                <a:latin typeface="Arial"/>
              </a:rPr>
              <a:pPr/>
              <a:t>‹#›</a:t>
            </a:fld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71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698373" indent="-26860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74420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04188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933956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840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608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376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144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AC1A16F-ADE7-47D3-8745-8480D56F6679}" type="slidenum">
              <a:rPr lang="ja-JP" altLang="en-US">
                <a:solidFill>
                  <a:prstClr val="black"/>
                </a:solidFill>
                <a:latin typeface="Arial"/>
              </a:rPr>
              <a:pPr/>
              <a:t>1</a:t>
            </a:fld>
            <a:endParaRPr lang="en-US" altLang="ja-JP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867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1675" y="736600"/>
            <a:ext cx="5351463" cy="3705225"/>
          </a:xfrm>
          <a:ln/>
        </p:spPr>
      </p:sp>
      <p:sp>
        <p:nvSpPr>
          <p:cNvPr id="2867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633" y="4685514"/>
            <a:ext cx="4934501" cy="4443677"/>
          </a:xfrm>
        </p:spPr>
        <p:txBody>
          <a:bodyPr/>
          <a:lstStyle/>
          <a:p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6409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4.xml"/><Relationship Id="rId4" Type="http://schemas.openxmlformats.org/officeDocument/2006/relationships/image" Target="../media/image5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5.xml"/><Relationship Id="rId4" Type="http://schemas.openxmlformats.org/officeDocument/2006/relationships/image" Target="../media/image5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6.xml"/><Relationship Id="rId4" Type="http://schemas.openxmlformats.org/officeDocument/2006/relationships/image" Target="../media/image5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8.xml"/><Relationship Id="rId4" Type="http://schemas.openxmlformats.org/officeDocument/2006/relationships/image" Target="../media/image8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0.xml"/><Relationship Id="rId6" Type="http://schemas.openxmlformats.org/officeDocument/2006/relationships/image" Target="../media/image10.png"/><Relationship Id="rId5" Type="http://schemas.openxmlformats.org/officeDocument/2006/relationships/image" Target="../media/image4.png"/><Relationship Id="rId4" Type="http://schemas.openxmlformats.org/officeDocument/2006/relationships/image" Target="../media/image9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8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9.xml"/><Relationship Id="rId4" Type="http://schemas.openxmlformats.org/officeDocument/2006/relationships/image" Target="../media/image5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0.xml"/><Relationship Id="rId4" Type="http://schemas.openxmlformats.org/officeDocument/2006/relationships/image" Target="../media/image5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2.xml"/><Relationship Id="rId4" Type="http://schemas.openxmlformats.org/officeDocument/2006/relationships/image" Target="../media/image5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3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360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有限責任監査法人 トーマツ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41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904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7" name="タイトル プレースホルダ 6"/>
          <p:cNvSpPr>
            <a:spLocks noGrp="1"/>
          </p:cNvSpPr>
          <p:nvPr>
            <p:ph type="title" hasCustomPrompt="1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5" hasCustomPrompt="1"/>
          </p:nvPr>
        </p:nvSpPr>
        <p:spPr>
          <a:xfrm>
            <a:off x="4170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5151291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080455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6947446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8717829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Seminar（S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5" name="オブジェクト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17000" y="136802"/>
            <a:ext cx="9072000" cy="651600"/>
          </a:xfrm>
        </p:spPr>
        <p:txBody>
          <a:bodyPr/>
          <a:lstStyle>
            <a:lvl1pPr>
              <a:defRPr sz="2000">
                <a:latin typeface="+mn-lt"/>
              </a:defRPr>
            </a:lvl1pPr>
          </a:lstStyle>
          <a:p>
            <a:r>
              <a:rPr kumimoji="1" lang="ja-JP" altLang="en-US" dirty="0"/>
              <a:t>キーメッセージ（スライドで一番伝えたいこと＜名詞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0CF35F9-5879-42A9-8B76-81836FFCFE6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2" hasCustomPrompt="1"/>
          </p:nvPr>
        </p:nvSpPr>
        <p:spPr>
          <a:xfrm>
            <a:off x="417000" y="1016000"/>
            <a:ext cx="4320000" cy="432000"/>
          </a:xfrm>
        </p:spPr>
        <p:txBody>
          <a:bodyPr wrap="none" anchor="ctr"/>
          <a:lstStyle>
            <a:lvl1pPr>
              <a:lnSpc>
                <a:spcPct val="100000"/>
              </a:lnSpc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738783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70" imgH="469" progId="TCLayout.ActiveDocument.1">
                  <p:embed/>
                </p:oleObj>
              </mc:Choice>
              <mc:Fallback>
                <p:oleObj name="think-cell スライド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694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39360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42245625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10911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2" y="6588177"/>
            <a:ext cx="410385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143831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290624"/>
            <a:ext cx="9072000" cy="651600"/>
          </a:xfrm>
        </p:spPr>
        <p:txBody>
          <a:bodyPr/>
          <a:lstStyle>
            <a:lvl1pPr>
              <a:defRPr sz="1600"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06511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8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6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10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6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2184443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108" baseline="0">
                <a:latin typeface="+mn-lt"/>
                <a:ea typeface="+mn-ea"/>
                <a:cs typeface="Arial" pitchFamily="34" charset="0"/>
              </a:defRPr>
            </a:lvl1pPr>
            <a:lvl2pPr marL="159512" indent="-159512">
              <a:lnSpc>
                <a:spcPct val="106000"/>
              </a:lnSpc>
              <a:spcBef>
                <a:spcPts val="975"/>
              </a:spcBef>
              <a:buFont typeface="Wingdings" pitchFamily="2" charset="2"/>
              <a:buChar char="n"/>
              <a:defRPr sz="1108" baseline="0">
                <a:latin typeface="+mn-lt"/>
                <a:ea typeface="+mn-ea"/>
                <a:cs typeface="Arial" pitchFamily="34" charset="0"/>
              </a:defRPr>
            </a:lvl2pPr>
            <a:lvl3pPr marL="319023" indent="-159512">
              <a:lnSpc>
                <a:spcPct val="106000"/>
              </a:lnSpc>
              <a:spcBef>
                <a:spcPts val="443"/>
              </a:spcBef>
              <a:buFont typeface="Wingdings" pitchFamily="2" charset="2"/>
              <a:buChar char="Ø"/>
              <a:defRPr sz="1108" baseline="0">
                <a:latin typeface="+mn-lt"/>
                <a:ea typeface="+mn-ea"/>
                <a:cs typeface="Arial" pitchFamily="34" charset="0"/>
              </a:defRPr>
            </a:lvl3pPr>
            <a:lvl4pPr marL="478535" marR="0" indent="-159512" algn="l" defTabSz="912958" rtl="0" eaLnBrk="1" fontAlgn="auto" latinLnBrk="0" hangingPunct="1">
              <a:lnSpc>
                <a:spcPct val="106000"/>
              </a:lnSpc>
              <a:spcBef>
                <a:spcPts val="222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108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>
          <a:xfrm>
            <a:off x="9577382" y="6609771"/>
            <a:ext cx="305033" cy="600164"/>
          </a:xfrm>
          <a:prstGeom prst="rect">
            <a:avLst/>
          </a:prstGeom>
        </p:spPr>
        <p:txBody>
          <a:bodyPr/>
          <a:lstStyle>
            <a:lvl1pPr>
              <a:defRPr sz="110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1252464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indent="-180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85983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+mn-lt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417000" y="6588000"/>
            <a:ext cx="180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5468651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62542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両サイド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D5C521C-FF79-4B18-A827-A0B66727F89C}" type="slidenum">
              <a:rPr lang="en-GB" altLang="en-GB" smtClean="0"/>
              <a:pPr/>
              <a:t>‹#›</a:t>
            </a:fld>
            <a:endParaRPr lang="en-GB" altLang="en-GB" dirty="0"/>
          </a:p>
        </p:txBody>
      </p:sp>
      <p:sp>
        <p:nvSpPr>
          <p:cNvPr id="5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3600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6800"/>
            <a:ext cx="9040944" cy="651600"/>
          </a:xfr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19223050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0" imgH="659" progId="TCLayout.ActiveDocument.1">
                  <p:embed/>
                </p:oleObj>
              </mc:Choice>
              <mc:Fallback>
                <p:oleObj name="think-cell Slide" r:id="rId3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東京都　御中</a:t>
            </a:r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85000" y="431999"/>
            <a:ext cx="1404000" cy="34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2884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271890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47495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0200816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83242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37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17B94E-3120-478C-8085-A9F2B368A1A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12" name="テキスト プレースホルダ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7"/>
          </p:nvPr>
        </p:nvSpPr>
        <p:spPr bwMode="gray">
          <a:xfrm>
            <a:off x="5132388" y="1926000"/>
            <a:ext cx="4320000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8" hasCustomPrompt="1"/>
          </p:nvPr>
        </p:nvSpPr>
        <p:spPr>
          <a:xfrm>
            <a:off x="417000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quarter" idx="19" hasCustomPrompt="1"/>
          </p:nvPr>
        </p:nvSpPr>
        <p:spPr>
          <a:xfrm>
            <a:off x="5132388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717219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6722337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307358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863241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49114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479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9066013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40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008770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651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4284982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52562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857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924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589688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626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1834917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65437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889530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23123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1148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7588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0567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9031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78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22210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850065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277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9163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36210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635574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798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7614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577094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3074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634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7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5252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107241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09901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959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30645378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367064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689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6073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652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246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59640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783885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779122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59200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710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058687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1249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1243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416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7198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200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669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355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8606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975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026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400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390776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175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686713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5732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6718809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648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0981171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04852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13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5586995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8886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42584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561127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9505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801809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786509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203864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186966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85270-3274-4E38-AA52-8FBE5569AC92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027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4121592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176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245339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145493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92338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45205551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4494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002716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757787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717555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886851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2093522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</a:t>
            </a:r>
            <a:r>
              <a:rPr lang="ja-JP" altLang="ja-JP" sz="1400" dirty="0">
                <a:solidFill>
                  <a:srgbClr val="000000"/>
                </a:solidFill>
              </a:rPr>
              <a:t>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301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714399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841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7297439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32985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0877363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118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300846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997718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097587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548305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1869381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6430692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0925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205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901407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988552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49422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5" name="スライド番号プレースホルダ 8"/>
          <p:cNvSpPr>
            <a:spLocks noGrp="1"/>
          </p:cNvSpPr>
          <p:nvPr>
            <p:ph type="sldNum" sz="quarter" idx="21"/>
          </p:nvPr>
        </p:nvSpPr>
        <p:spPr bwMode="gray">
          <a:xfrm>
            <a:off x="4881602" y="6588000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7603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184785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3274935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デロイト トーマツ コンサルティング</a:t>
            </a: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合同</a:t>
            </a: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会社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grpSp>
        <p:nvGrpSpPr>
          <p:cNvPr id="11" name="グループ化 10"/>
          <p:cNvGrpSpPr>
            <a:grpSpLocks noChangeAspect="1"/>
          </p:cNvGrpSpPr>
          <p:nvPr userDrawn="1"/>
        </p:nvGrpSpPr>
        <p:grpSpPr bwMode="gray">
          <a:xfrm>
            <a:off x="6692185" y="6106206"/>
            <a:ext cx="2829146" cy="522000"/>
            <a:chOff x="6692185" y="6106206"/>
            <a:chExt cx="2829146" cy="522000"/>
          </a:xfrm>
        </p:grpSpPr>
        <p:pic>
          <p:nvPicPr>
            <p:cNvPr id="12" name="図 1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585494" y="6106206"/>
              <a:ext cx="935837" cy="522000"/>
            </a:xfrm>
            <a:prstGeom prst="rect">
              <a:avLst/>
            </a:prstGeom>
          </p:spPr>
        </p:pic>
        <p:pic>
          <p:nvPicPr>
            <p:cNvPr id="13" name="図 1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692185" y="6220769"/>
              <a:ext cx="1866026" cy="2928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02076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955763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58992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9654713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5682338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954324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ags" Target="../tags/tag67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oleObject" Target="../embeddings/oleObject5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tags" Target="../tags/tag79.xml"/><Relationship Id="rId5" Type="http://schemas.openxmlformats.org/officeDocument/2006/relationships/slideLayout" Target="../slideLayouts/slideLayout119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57.xml"/><Relationship Id="rId5" Type="http://schemas.openxmlformats.org/officeDocument/2006/relationships/slideLayout" Target="../slideLayouts/slideLayout5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0970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79974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altLang="ja-JP" sz="900" dirty="0">
                <a:solidFill>
                  <a:prstClr val="black"/>
                </a:solidFill>
              </a:rPr>
              <a:t>© 2017. For information, contact Deloitte Touche Tohmatsu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447065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4649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8" r:id="rId6"/>
    <p:sldLayoutId id="2147484033" r:id="rId7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44" imgH="443" progId="TCLayout.ActiveDocument.1">
                  <p:embed/>
                </p:oleObj>
              </mc:Choice>
              <mc:Fallback>
                <p:oleObj name="think-cell スライド" r:id="rId14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ja-JP" altLang="en-US"/>
              <a:t>鉄道事業者としての</a:t>
            </a:r>
            <a:r>
              <a:rPr kumimoji="1" lang="en-US" altLang="ja-JP"/>
              <a:t>MaaS</a:t>
            </a:r>
            <a:r>
              <a:rPr kumimoji="1" lang="ja-JP" altLang="en-US"/>
              <a:t>事業への取組みに関する討議</a:t>
            </a: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Deloitte Tohmatsu Consulting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53804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hf hd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6899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9" r:id="rId7"/>
    <p:sldLayoutId id="2147484030" r:id="rId8"/>
    <p:sldLayoutId id="2147484031" r:id="rId9"/>
    <p:sldLayoutId id="2147484032" r:id="rId10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60" imgH="659" progId="TCLayout.ActiveDocument.1">
                  <p:embed/>
                </p:oleObj>
              </mc:Choice>
              <mc:Fallback>
                <p:oleObj name="think-cell Slide" r:id="rId12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630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05461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92215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6E56C22-CD92-4A50-AAD1-E2171E0619BD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2" name="Text Box 37"/>
          <p:cNvSpPr txBox="1">
            <a:spLocks noChangeArrowheads="1"/>
          </p:cNvSpPr>
          <p:nvPr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altLang="ja-JP" sz="900" kern="1200" dirty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1147883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2987227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402971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3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477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04830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903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306691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05752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 9"/>
          <p:cNvSpPr txBox="1">
            <a:spLocks/>
          </p:cNvSpPr>
          <p:nvPr/>
        </p:nvSpPr>
        <p:spPr bwMode="gray">
          <a:xfrm>
            <a:off x="1554562" y="2144029"/>
            <a:ext cx="6982609" cy="1363942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先進的デジタル技術活用実証プロジェクト</a:t>
            </a: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エントリーシート補足資料</a:t>
            </a: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  <p:sp>
        <p:nvSpPr>
          <p:cNvPr id="4" name="テキスト プレースホルダ 9"/>
          <p:cNvSpPr txBox="1">
            <a:spLocks/>
          </p:cNvSpPr>
          <p:nvPr/>
        </p:nvSpPr>
        <p:spPr bwMode="gray">
          <a:xfrm>
            <a:off x="0" y="0"/>
            <a:ext cx="1172012" cy="690611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sz="1400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別紙３</a:t>
            </a:r>
            <a:endParaRPr lang="en-US" altLang="ja-JP" sz="1400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7508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/>
          <p:cNvSpPr>
            <a:spLocks noGrp="1"/>
          </p:cNvSpPr>
          <p:nvPr>
            <p:ph type="title"/>
          </p:nvPr>
        </p:nvSpPr>
        <p:spPr>
          <a:xfrm>
            <a:off x="352847" y="16622"/>
            <a:ext cx="9072000" cy="731522"/>
          </a:xfrm>
        </p:spPr>
        <p:txBody>
          <a:bodyPr/>
          <a:lstStyle/>
          <a:p>
            <a:pPr algn="ctr"/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内容（課題とその解決の対応方法）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）</a:t>
            </a:r>
            <a:endParaRPr kumimoji="1" lang="ja-JP" altLang="en-US" dirty="0"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  <p:sp>
        <p:nvSpPr>
          <p:cNvPr id="32" name="テキスト プレースホルダー 3"/>
          <p:cNvSpPr txBox="1">
            <a:spLocks/>
          </p:cNvSpPr>
          <p:nvPr/>
        </p:nvSpPr>
        <p:spPr>
          <a:xfrm>
            <a:off x="196427" y="830515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内容・目的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4507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5"/>
          <p:cNvSpPr txBox="1">
            <a:spLocks/>
          </p:cNvSpPr>
          <p:nvPr/>
        </p:nvSpPr>
        <p:spPr bwMode="gray">
          <a:xfrm>
            <a:off x="374900" y="-2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実施スケジュール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）</a:t>
            </a:r>
          </a:p>
        </p:txBody>
      </p:sp>
      <p:sp>
        <p:nvSpPr>
          <p:cNvPr id="7" name="テキスト プレースホルダー 3"/>
          <p:cNvSpPr txBox="1">
            <a:spLocks/>
          </p:cNvSpPr>
          <p:nvPr/>
        </p:nvSpPr>
        <p:spPr>
          <a:xfrm>
            <a:off x="218480" y="813891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スケジュール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61301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5"/>
          <p:cNvSpPr txBox="1">
            <a:spLocks/>
          </p:cNvSpPr>
          <p:nvPr/>
        </p:nvSpPr>
        <p:spPr bwMode="gray">
          <a:xfrm>
            <a:off x="352847" y="16626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その他、実証プロジェクトの紹介資料や事業計画書などありましたら、</a:t>
            </a:r>
            <a:endParaRPr lang="en-US" altLang="ja-JP" dirty="0"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本スライド以降に追加してください。</a:t>
            </a:r>
          </a:p>
        </p:txBody>
      </p:sp>
      <p:sp>
        <p:nvSpPr>
          <p:cNvPr id="8" name="テキスト プレースホルダー 3"/>
          <p:cNvSpPr txBox="1">
            <a:spLocks/>
          </p:cNvSpPr>
          <p:nvPr/>
        </p:nvSpPr>
        <p:spPr>
          <a:xfrm>
            <a:off x="196427" y="830519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その他補足資料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88000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1.xml><?xml version="1.0" encoding="utf-8"?>
<a:theme xmlns:a="http://schemas.openxmlformats.org/drawingml/2006/main" name="4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2.xml><?xml version="1.0" encoding="utf-8"?>
<a:theme xmlns:a="http://schemas.openxmlformats.org/drawingml/2006/main" name="5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3.xml><?xml version="1.0" encoding="utf-8"?>
<a:theme xmlns:a="http://schemas.openxmlformats.org/drawingml/2006/main" name="6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4.xml><?xml version="1.0" encoding="utf-8"?>
<a:theme xmlns:a="http://schemas.openxmlformats.org/drawingml/2006/main" name="DT Proposal Template_J_20181205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ohmatsu Proposal Template_J_20160105_補足版（本文あり）">
  <a:themeElements>
    <a:clrScheme name="ユーザー定義 1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rtlCol="0" anchor="ctr"/>
      <a:lstStyle>
        <a:defPPr algn="ctr">
          <a:defRPr kumimoji="1"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9.xml><?xml version="1.0" encoding="utf-8"?>
<a:theme xmlns:a="http://schemas.openxmlformats.org/drawingml/2006/main" name="1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9B76E9AC031B498A003B0A6B264DC6" ma:contentTypeVersion="" ma:contentTypeDescription="Create a new document." ma:contentTypeScope="" ma:versionID="7d5800d0d66064624391e2173faee4fe">
  <xsd:schema xmlns:xsd="http://www.w3.org/2001/XMLSchema" xmlns:xs="http://www.w3.org/2001/XMLSchema" xmlns:p="http://schemas.microsoft.com/office/2006/metadata/properties" xmlns:ns2="3a4731f9-7dea-4ec8-b9b6-581989713bb4" targetNamespace="http://schemas.microsoft.com/office/2006/metadata/properties" ma:root="true" ma:fieldsID="30c9ed858bcfdfba078b5a52fd1fab38" ns2:_="">
    <xsd:import namespace="3a4731f9-7dea-4ec8-b9b6-581989713bb4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4731f9-7dea-4ec8-b9b6-581989713bb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810D75-CCF6-483B-965C-EB18F9989D81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e1ab9bf-6fba-4470-ae98-e5144ebfb4bc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39091D0-4110-4FF5-8034-336546945D1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7FAABB-0222-45E9-A32C-99F54DE6E1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4731f9-7dea-4ec8-b9b6-581989713b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和文テンプレート_jan2012</Template>
  <TotalTime>0</TotalTime>
  <Words>113</Words>
  <Application>Microsoft Office PowerPoint</Application>
  <PresentationFormat>A4 210 x 297 mm</PresentationFormat>
  <Paragraphs>12</Paragraphs>
  <Slides>4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4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4</vt:i4>
      </vt:variant>
    </vt:vector>
  </HeadingPairs>
  <TitlesOfParts>
    <vt:vector size="25" baseType="lpstr">
      <vt:lpstr>AR Pゴシック体M</vt:lpstr>
      <vt:lpstr>Meiryo UI</vt:lpstr>
      <vt:lpstr>Arial</vt:lpstr>
      <vt:lpstr>Verdana</vt:lpstr>
      <vt:lpstr>Wingdings</vt:lpstr>
      <vt:lpstr>Tohmatsu Proposal Template_J_20160105</vt:lpstr>
      <vt:lpstr>Tohmatsu Proposal Template_J_20160105_補足版（本文あり）</vt:lpstr>
      <vt:lpstr>1_Tohmatsu Proposal Template_J_20160105</vt:lpstr>
      <vt:lpstr>2_Tohmatsu Proposal Template_J_20160105</vt:lpstr>
      <vt:lpstr>3_Tohmatsu Proposal Template_J_20160105</vt:lpstr>
      <vt:lpstr>4_Tohmatsu Proposal Template_J_20160105</vt:lpstr>
      <vt:lpstr>5_Tohmatsu Proposal Template_J_20160105</vt:lpstr>
      <vt:lpstr>DT Proposal Template_J_20161001</vt:lpstr>
      <vt:lpstr>1_DT Proposal Template_J_20161001</vt:lpstr>
      <vt:lpstr>3_DT Proposal Template_J_20161001</vt:lpstr>
      <vt:lpstr>4_DT Proposal Template_J_20161001</vt:lpstr>
      <vt:lpstr>5_DT Proposal Template_J_20161001</vt:lpstr>
      <vt:lpstr>6_DT Proposal Template_J_20161001</vt:lpstr>
      <vt:lpstr>DT Proposal Template_J_20181205</vt:lpstr>
      <vt:lpstr>think-cell Slide</vt:lpstr>
      <vt:lpstr>think-cell スライド</vt:lpstr>
      <vt:lpstr>PowerPoint プレゼンテーション</vt:lpstr>
      <vt:lpstr>実証プロジェクトの内容（課題とその解決の対応方法）について具体的にご記入ください。 （スライドが複数ある場合は、新しいスライドを適宜追加してください。）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4T03:44:27Z</dcterms:created>
  <dcterms:modified xsi:type="dcterms:W3CDTF">2025-04-16T09:4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9B76E9AC031B498A003B0A6B264DC6</vt:lpwstr>
  </property>
</Properties>
</file>